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37240B-70FF-4119-BF44-8AB7A0CE16FD}" v="20" dt="2024-08-31T13:54:59.8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ma, Puneet K SBOBNG-PTIY/BHC" userId="1e691898-56e4-4ebc-bd46-ef8059d4d601" providerId="ADAL" clId="{1D37240B-70FF-4119-BF44-8AB7A0CE16FD}"/>
    <pc:docChg chg="undo custSel modSld">
      <pc:chgData name="Sharma, Puneet K SBOBNG-PTIY/BHC" userId="1e691898-56e4-4ebc-bd46-ef8059d4d601" providerId="ADAL" clId="{1D37240B-70FF-4119-BF44-8AB7A0CE16FD}" dt="2024-08-31T14:07:20.416" v="11476" actId="20577"/>
      <pc:docMkLst>
        <pc:docMk/>
      </pc:docMkLst>
      <pc:sldChg chg="modSp mod">
        <pc:chgData name="Sharma, Puneet K SBOBNG-PTIY/BHC" userId="1e691898-56e4-4ebc-bd46-ef8059d4d601" providerId="ADAL" clId="{1D37240B-70FF-4119-BF44-8AB7A0CE16FD}" dt="2024-08-31T12:43:51.541" v="6183" actId="20577"/>
        <pc:sldMkLst>
          <pc:docMk/>
          <pc:sldMk cId="3267775274" sldId="256"/>
        </pc:sldMkLst>
        <pc:spChg chg="mod">
          <ac:chgData name="Sharma, Puneet K SBOBNG-PTIY/BHC" userId="1e691898-56e4-4ebc-bd46-ef8059d4d601" providerId="ADAL" clId="{1D37240B-70FF-4119-BF44-8AB7A0CE16FD}" dt="2024-08-30T16:03:19.742" v="5" actId="20577"/>
          <ac:spMkLst>
            <pc:docMk/>
            <pc:sldMk cId="3267775274" sldId="256"/>
            <ac:spMk id="6" creationId="{0C37A4A8-A3C7-407F-B123-88E2E165C827}"/>
          </ac:spMkLst>
        </pc:spChg>
        <pc:spChg chg="mod">
          <ac:chgData name="Sharma, Puneet K SBOBNG-PTIY/BHC" userId="1e691898-56e4-4ebc-bd46-ef8059d4d601" providerId="ADAL" clId="{1D37240B-70FF-4119-BF44-8AB7A0CE16FD}" dt="2024-08-30T16:03:32.675" v="30" actId="20577"/>
          <ac:spMkLst>
            <pc:docMk/>
            <pc:sldMk cId="3267775274" sldId="256"/>
            <ac:spMk id="12" creationId="{8A24547F-8A92-CDC5-A578-3733390534F2}"/>
          </ac:spMkLst>
        </pc:spChg>
        <pc:spChg chg="mod">
          <ac:chgData name="Sharma, Puneet K SBOBNG-PTIY/BHC" userId="1e691898-56e4-4ebc-bd46-ef8059d4d601" providerId="ADAL" clId="{1D37240B-70FF-4119-BF44-8AB7A0CE16FD}" dt="2024-08-31T12:43:51.541" v="6183" actId="20577"/>
          <ac:spMkLst>
            <pc:docMk/>
            <pc:sldMk cId="3267775274" sldId="256"/>
            <ac:spMk id="13" creationId="{C48F8DD6-A1B3-8126-FAC3-218B712C7FFB}"/>
          </ac:spMkLst>
        </pc:spChg>
      </pc:sldChg>
      <pc:sldChg chg="addSp delSp modSp mod">
        <pc:chgData name="Sharma, Puneet K SBOBNG-PTIY/BHC" userId="1e691898-56e4-4ebc-bd46-ef8059d4d601" providerId="ADAL" clId="{1D37240B-70FF-4119-BF44-8AB7A0CE16FD}" dt="2024-08-31T13:54:59.887" v="11448" actId="1076"/>
        <pc:sldMkLst>
          <pc:docMk/>
          <pc:sldMk cId="867832184" sldId="2147375589"/>
        </pc:sldMkLst>
        <pc:spChg chg="mod">
          <ac:chgData name="Sharma, Puneet K SBOBNG-PTIY/BHC" userId="1e691898-56e4-4ebc-bd46-ef8059d4d601" providerId="ADAL" clId="{1D37240B-70FF-4119-BF44-8AB7A0CE16FD}" dt="2024-08-31T13:52:15.570" v="11438" actId="20577"/>
          <ac:spMkLst>
            <pc:docMk/>
            <pc:sldMk cId="867832184" sldId="2147375589"/>
            <ac:spMk id="10" creationId="{1119CB9E-042F-11E8-F683-654626D307B3}"/>
          </ac:spMkLst>
        </pc:spChg>
        <pc:spChg chg="del mod">
          <ac:chgData name="Sharma, Puneet K SBOBNG-PTIY/BHC" userId="1e691898-56e4-4ebc-bd46-ef8059d4d601" providerId="ADAL" clId="{1D37240B-70FF-4119-BF44-8AB7A0CE16FD}" dt="2024-08-30T16:14:52.721" v="236" actId="478"/>
          <ac:spMkLst>
            <pc:docMk/>
            <pc:sldMk cId="867832184" sldId="2147375589"/>
            <ac:spMk id="11" creationId="{CE0DDF5F-FE47-F9A2-FE84-53B63DFF494D}"/>
          </ac:spMkLst>
        </pc:spChg>
        <pc:picChg chg="add del mod">
          <ac:chgData name="Sharma, Puneet K SBOBNG-PTIY/BHC" userId="1e691898-56e4-4ebc-bd46-ef8059d4d601" providerId="ADAL" clId="{1D37240B-70FF-4119-BF44-8AB7A0CE16FD}" dt="2024-08-30T16:14:52.721" v="236" actId="478"/>
          <ac:picMkLst>
            <pc:docMk/>
            <pc:sldMk cId="867832184" sldId="2147375589"/>
            <ac:picMk id="1026" creationId="{5CF0E2FE-818A-7F70-C141-4502F19CC735}"/>
          </ac:picMkLst>
        </pc:picChg>
        <pc:picChg chg="add mod">
          <ac:chgData name="Sharma, Puneet K SBOBNG-PTIY/BHC" userId="1e691898-56e4-4ebc-bd46-ef8059d4d601" providerId="ADAL" clId="{1D37240B-70FF-4119-BF44-8AB7A0CE16FD}" dt="2024-08-31T13:54:59.887" v="11448" actId="1076"/>
          <ac:picMkLst>
            <pc:docMk/>
            <pc:sldMk cId="867832184" sldId="2147375589"/>
            <ac:picMk id="1026" creationId="{BEA4036C-EFE0-45DD-2E14-E80E0FF2464B}"/>
          </ac:picMkLst>
        </pc:picChg>
      </pc:sldChg>
      <pc:sldChg chg="addSp modSp mod">
        <pc:chgData name="Sharma, Puneet K SBOBNG-PTIY/BHC" userId="1e691898-56e4-4ebc-bd46-ef8059d4d601" providerId="ADAL" clId="{1D37240B-70FF-4119-BF44-8AB7A0CE16FD}" dt="2024-08-31T12:44:47.241" v="6201" actId="20577"/>
        <pc:sldMkLst>
          <pc:docMk/>
          <pc:sldMk cId="245881457" sldId="2147375597"/>
        </pc:sldMkLst>
        <pc:spChg chg="mod">
          <ac:chgData name="Sharma, Puneet K SBOBNG-PTIY/BHC" userId="1e691898-56e4-4ebc-bd46-ef8059d4d601" providerId="ADAL" clId="{1D37240B-70FF-4119-BF44-8AB7A0CE16FD}" dt="2024-08-31T12:44:47.241" v="6201" actId="20577"/>
          <ac:spMkLst>
            <pc:docMk/>
            <pc:sldMk cId="245881457" sldId="2147375597"/>
            <ac:spMk id="3" creationId="{CEA128C4-A0BC-A895-713C-306E7FF62894}"/>
          </ac:spMkLst>
        </pc:spChg>
        <pc:spChg chg="mod">
          <ac:chgData name="Sharma, Puneet K SBOBNG-PTIY/BHC" userId="1e691898-56e4-4ebc-bd46-ef8059d4d601" providerId="ADAL" clId="{1D37240B-70FF-4119-BF44-8AB7A0CE16FD}" dt="2024-08-30T16:32:20.208" v="748" actId="20577"/>
          <ac:spMkLst>
            <pc:docMk/>
            <pc:sldMk cId="245881457" sldId="2147375597"/>
            <ac:spMk id="11" creationId="{DE9F1BE0-7910-FA1B-DCE8-56EFD1E4FC09}"/>
          </ac:spMkLst>
        </pc:spChg>
        <pc:spChg chg="mod">
          <ac:chgData name="Sharma, Puneet K SBOBNG-PTIY/BHC" userId="1e691898-56e4-4ebc-bd46-ef8059d4d601" providerId="ADAL" clId="{1D37240B-70FF-4119-BF44-8AB7A0CE16FD}" dt="2024-08-30T16:32:39.742" v="806" actId="20577"/>
          <ac:spMkLst>
            <pc:docMk/>
            <pc:sldMk cId="245881457" sldId="2147375597"/>
            <ac:spMk id="12" creationId="{E53E5C3F-4D2B-B85F-E592-E58E032C664C}"/>
          </ac:spMkLst>
        </pc:spChg>
        <pc:picChg chg="add mod modCrop">
          <ac:chgData name="Sharma, Puneet K SBOBNG-PTIY/BHC" userId="1e691898-56e4-4ebc-bd46-ef8059d4d601" providerId="ADAL" clId="{1D37240B-70FF-4119-BF44-8AB7A0CE16FD}" dt="2024-08-30T16:35:16.255" v="816" actId="1076"/>
          <ac:picMkLst>
            <pc:docMk/>
            <pc:sldMk cId="245881457" sldId="2147375597"/>
            <ac:picMk id="5" creationId="{49792A22-6834-3D0C-C4DC-746BC582BB37}"/>
          </ac:picMkLst>
        </pc:picChg>
      </pc:sldChg>
      <pc:sldChg chg="addSp modSp mod">
        <pc:chgData name="Sharma, Puneet K SBOBNG-PTIY/BHC" userId="1e691898-56e4-4ebc-bd46-ef8059d4d601" providerId="ADAL" clId="{1D37240B-70FF-4119-BF44-8AB7A0CE16FD}" dt="2024-08-31T12:45:10.473" v="6239" actId="20577"/>
        <pc:sldMkLst>
          <pc:docMk/>
          <pc:sldMk cId="1181112711" sldId="2147375600"/>
        </pc:sldMkLst>
        <pc:spChg chg="mod">
          <ac:chgData name="Sharma, Puneet K SBOBNG-PTIY/BHC" userId="1e691898-56e4-4ebc-bd46-ef8059d4d601" providerId="ADAL" clId="{1D37240B-70FF-4119-BF44-8AB7A0CE16FD}" dt="2024-08-31T12:45:10.473" v="6239" actId="20577"/>
          <ac:spMkLst>
            <pc:docMk/>
            <pc:sldMk cId="1181112711" sldId="2147375600"/>
            <ac:spMk id="3" creationId="{CEA128C4-A0BC-A895-713C-306E7FF62894}"/>
          </ac:spMkLst>
        </pc:spChg>
        <pc:spChg chg="mod">
          <ac:chgData name="Sharma, Puneet K SBOBNG-PTIY/BHC" userId="1e691898-56e4-4ebc-bd46-ef8059d4d601" providerId="ADAL" clId="{1D37240B-70FF-4119-BF44-8AB7A0CE16FD}" dt="2024-08-30T16:45:06.401" v="1450" actId="20577"/>
          <ac:spMkLst>
            <pc:docMk/>
            <pc:sldMk cId="1181112711" sldId="2147375600"/>
            <ac:spMk id="11" creationId="{DE9F1BE0-7910-FA1B-DCE8-56EFD1E4FC09}"/>
          </ac:spMkLst>
        </pc:spChg>
        <pc:spChg chg="mod">
          <ac:chgData name="Sharma, Puneet K SBOBNG-PTIY/BHC" userId="1e691898-56e4-4ebc-bd46-ef8059d4d601" providerId="ADAL" clId="{1D37240B-70FF-4119-BF44-8AB7A0CE16FD}" dt="2024-08-30T16:45:15.653" v="1508" actId="20577"/>
          <ac:spMkLst>
            <pc:docMk/>
            <pc:sldMk cId="1181112711" sldId="2147375600"/>
            <ac:spMk id="12" creationId="{E53E5C3F-4D2B-B85F-E592-E58E032C664C}"/>
          </ac:spMkLst>
        </pc:spChg>
        <pc:picChg chg="add mod">
          <ac:chgData name="Sharma, Puneet K SBOBNG-PTIY/BHC" userId="1e691898-56e4-4ebc-bd46-ef8059d4d601" providerId="ADAL" clId="{1D37240B-70FF-4119-BF44-8AB7A0CE16FD}" dt="2024-08-30T16:45:42.394" v="1514" actId="14100"/>
          <ac:picMkLst>
            <pc:docMk/>
            <pc:sldMk cId="1181112711" sldId="2147375600"/>
            <ac:picMk id="5" creationId="{22EA7F0D-89AA-EC55-66CC-48ED364C027E}"/>
          </ac:picMkLst>
        </pc:picChg>
      </pc:sldChg>
      <pc:sldChg chg="addSp modSp mod">
        <pc:chgData name="Sharma, Puneet K SBOBNG-PTIY/BHC" userId="1e691898-56e4-4ebc-bd46-ef8059d4d601" providerId="ADAL" clId="{1D37240B-70FF-4119-BF44-8AB7A0CE16FD}" dt="2024-08-31T14:00:17.932" v="11458" actId="20577"/>
        <pc:sldMkLst>
          <pc:docMk/>
          <pc:sldMk cId="3233747587" sldId="2147375601"/>
        </pc:sldMkLst>
        <pc:spChg chg="mod">
          <ac:chgData name="Sharma, Puneet K SBOBNG-PTIY/BHC" userId="1e691898-56e4-4ebc-bd46-ef8059d4d601" providerId="ADAL" clId="{1D37240B-70FF-4119-BF44-8AB7A0CE16FD}" dt="2024-08-31T12:45:56.363" v="6334" actId="20577"/>
          <ac:spMkLst>
            <pc:docMk/>
            <pc:sldMk cId="3233747587" sldId="2147375601"/>
            <ac:spMk id="3" creationId="{CEA128C4-A0BC-A895-713C-306E7FF62894}"/>
          </ac:spMkLst>
        </pc:spChg>
        <pc:spChg chg="mod">
          <ac:chgData name="Sharma, Puneet K SBOBNG-PTIY/BHC" userId="1e691898-56e4-4ebc-bd46-ef8059d4d601" providerId="ADAL" clId="{1D37240B-70FF-4119-BF44-8AB7A0CE16FD}" dt="2024-08-31T14:00:17.932" v="11458" actId="20577"/>
          <ac:spMkLst>
            <pc:docMk/>
            <pc:sldMk cId="3233747587" sldId="2147375601"/>
            <ac:spMk id="11" creationId="{DE9F1BE0-7910-FA1B-DCE8-56EFD1E4FC09}"/>
          </ac:spMkLst>
        </pc:spChg>
        <pc:spChg chg="mod">
          <ac:chgData name="Sharma, Puneet K SBOBNG-PTIY/BHC" userId="1e691898-56e4-4ebc-bd46-ef8059d4d601" providerId="ADAL" clId="{1D37240B-70FF-4119-BF44-8AB7A0CE16FD}" dt="2024-08-30T16:50:53.171" v="2291" actId="20577"/>
          <ac:spMkLst>
            <pc:docMk/>
            <pc:sldMk cId="3233747587" sldId="2147375601"/>
            <ac:spMk id="12" creationId="{E53E5C3F-4D2B-B85F-E592-E58E032C664C}"/>
          </ac:spMkLst>
        </pc:spChg>
        <pc:picChg chg="add mod">
          <ac:chgData name="Sharma, Puneet K SBOBNG-PTIY/BHC" userId="1e691898-56e4-4ebc-bd46-ef8059d4d601" providerId="ADAL" clId="{1D37240B-70FF-4119-BF44-8AB7A0CE16FD}" dt="2024-08-30T16:53:55.500" v="2294" actId="14100"/>
          <ac:picMkLst>
            <pc:docMk/>
            <pc:sldMk cId="3233747587" sldId="2147375601"/>
            <ac:picMk id="5" creationId="{26F7A6F9-811C-EA51-498A-A15647772E33}"/>
          </ac:picMkLst>
        </pc:picChg>
      </pc:sldChg>
      <pc:sldChg chg="modSp mod">
        <pc:chgData name="Sharma, Puneet K SBOBNG-PTIY/BHC" userId="1e691898-56e4-4ebc-bd46-ef8059d4d601" providerId="ADAL" clId="{1D37240B-70FF-4119-BF44-8AB7A0CE16FD}" dt="2024-08-31T14:01:21.671" v="11460" actId="20577"/>
        <pc:sldMkLst>
          <pc:docMk/>
          <pc:sldMk cId="3971512377" sldId="2147375603"/>
        </pc:sldMkLst>
        <pc:spChg chg="mod">
          <ac:chgData name="Sharma, Puneet K SBOBNG-PTIY/BHC" userId="1e691898-56e4-4ebc-bd46-ef8059d4d601" providerId="ADAL" clId="{1D37240B-70FF-4119-BF44-8AB7A0CE16FD}" dt="2024-08-31T12:46:19.346" v="6354" actId="20577"/>
          <ac:spMkLst>
            <pc:docMk/>
            <pc:sldMk cId="3971512377" sldId="2147375603"/>
            <ac:spMk id="3" creationId="{CEA128C4-A0BC-A895-713C-306E7FF62894}"/>
          </ac:spMkLst>
        </pc:spChg>
        <pc:spChg chg="mod">
          <ac:chgData name="Sharma, Puneet K SBOBNG-PTIY/BHC" userId="1e691898-56e4-4ebc-bd46-ef8059d4d601" providerId="ADAL" clId="{1D37240B-70FF-4119-BF44-8AB7A0CE16FD}" dt="2024-08-31T14:01:21.671" v="11460" actId="20577"/>
          <ac:spMkLst>
            <pc:docMk/>
            <pc:sldMk cId="3971512377" sldId="2147375603"/>
            <ac:spMk id="11" creationId="{DE9F1BE0-7910-FA1B-DCE8-56EFD1E4FC09}"/>
          </ac:spMkLst>
        </pc:spChg>
        <pc:spChg chg="mod">
          <ac:chgData name="Sharma, Puneet K SBOBNG-PTIY/BHC" userId="1e691898-56e4-4ebc-bd46-ef8059d4d601" providerId="ADAL" clId="{1D37240B-70FF-4119-BF44-8AB7A0CE16FD}" dt="2024-08-31T12:46:49.053" v="6426" actId="20577"/>
          <ac:spMkLst>
            <pc:docMk/>
            <pc:sldMk cId="3971512377" sldId="2147375603"/>
            <ac:spMk id="12" creationId="{E53E5C3F-4D2B-B85F-E592-E58E032C664C}"/>
          </ac:spMkLst>
        </pc:spChg>
      </pc:sldChg>
      <pc:sldChg chg="modSp mod">
        <pc:chgData name="Sharma, Puneet K SBOBNG-PTIY/BHC" userId="1e691898-56e4-4ebc-bd46-ef8059d4d601" providerId="ADAL" clId="{1D37240B-70FF-4119-BF44-8AB7A0CE16FD}" dt="2024-08-31T14:01:54.602" v="11463" actId="20577"/>
        <pc:sldMkLst>
          <pc:docMk/>
          <pc:sldMk cId="3179805674" sldId="2147375604"/>
        </pc:sldMkLst>
        <pc:spChg chg="mod">
          <ac:chgData name="Sharma, Puneet K SBOBNG-PTIY/BHC" userId="1e691898-56e4-4ebc-bd46-ef8059d4d601" providerId="ADAL" clId="{1D37240B-70FF-4119-BF44-8AB7A0CE16FD}" dt="2024-08-31T12:47:50.027" v="6463" actId="20577"/>
          <ac:spMkLst>
            <pc:docMk/>
            <pc:sldMk cId="3179805674" sldId="2147375604"/>
            <ac:spMk id="3" creationId="{CEA128C4-A0BC-A895-713C-306E7FF62894}"/>
          </ac:spMkLst>
        </pc:spChg>
        <pc:spChg chg="mod">
          <ac:chgData name="Sharma, Puneet K SBOBNG-PTIY/BHC" userId="1e691898-56e4-4ebc-bd46-ef8059d4d601" providerId="ADAL" clId="{1D37240B-70FF-4119-BF44-8AB7A0CE16FD}" dt="2024-08-31T14:01:54.602" v="11463" actId="20577"/>
          <ac:spMkLst>
            <pc:docMk/>
            <pc:sldMk cId="3179805674" sldId="2147375604"/>
            <ac:spMk id="11" creationId="{DE9F1BE0-7910-FA1B-DCE8-56EFD1E4FC09}"/>
          </ac:spMkLst>
        </pc:spChg>
        <pc:spChg chg="mod">
          <ac:chgData name="Sharma, Puneet K SBOBNG-PTIY/BHC" userId="1e691898-56e4-4ebc-bd46-ef8059d4d601" providerId="ADAL" clId="{1D37240B-70FF-4119-BF44-8AB7A0CE16FD}" dt="2024-08-31T12:47:59.820" v="6535" actId="20577"/>
          <ac:spMkLst>
            <pc:docMk/>
            <pc:sldMk cId="3179805674" sldId="2147375604"/>
            <ac:spMk id="12" creationId="{E53E5C3F-4D2B-B85F-E592-E58E032C664C}"/>
          </ac:spMkLst>
        </pc:spChg>
      </pc:sldChg>
      <pc:sldChg chg="modSp mod">
        <pc:chgData name="Sharma, Puneet K SBOBNG-PTIY/BHC" userId="1e691898-56e4-4ebc-bd46-ef8059d4d601" providerId="ADAL" clId="{1D37240B-70FF-4119-BF44-8AB7A0CE16FD}" dt="2024-08-31T14:03:01.039" v="11469" actId="20577"/>
        <pc:sldMkLst>
          <pc:docMk/>
          <pc:sldMk cId="86366928" sldId="2147375605"/>
        </pc:sldMkLst>
        <pc:spChg chg="mod">
          <ac:chgData name="Sharma, Puneet K SBOBNG-PTIY/BHC" userId="1e691898-56e4-4ebc-bd46-ef8059d4d601" providerId="ADAL" clId="{1D37240B-70FF-4119-BF44-8AB7A0CE16FD}" dt="2024-08-31T12:48:25.022" v="6601" actId="20577"/>
          <ac:spMkLst>
            <pc:docMk/>
            <pc:sldMk cId="86366928" sldId="2147375605"/>
            <ac:spMk id="3" creationId="{CEA128C4-A0BC-A895-713C-306E7FF62894}"/>
          </ac:spMkLst>
        </pc:spChg>
        <pc:spChg chg="mod">
          <ac:chgData name="Sharma, Puneet K SBOBNG-PTIY/BHC" userId="1e691898-56e4-4ebc-bd46-ef8059d4d601" providerId="ADAL" clId="{1D37240B-70FF-4119-BF44-8AB7A0CE16FD}" dt="2024-08-31T14:03:01.039" v="11469" actId="20577"/>
          <ac:spMkLst>
            <pc:docMk/>
            <pc:sldMk cId="86366928" sldId="2147375605"/>
            <ac:spMk id="11" creationId="{DE9F1BE0-7910-FA1B-DCE8-56EFD1E4FC09}"/>
          </ac:spMkLst>
        </pc:spChg>
        <pc:spChg chg="mod">
          <ac:chgData name="Sharma, Puneet K SBOBNG-PTIY/BHC" userId="1e691898-56e4-4ebc-bd46-ef8059d4d601" providerId="ADAL" clId="{1D37240B-70FF-4119-BF44-8AB7A0CE16FD}" dt="2024-08-31T12:48:32.207" v="6673" actId="20577"/>
          <ac:spMkLst>
            <pc:docMk/>
            <pc:sldMk cId="86366928" sldId="2147375605"/>
            <ac:spMk id="12" creationId="{E53E5C3F-4D2B-B85F-E592-E58E032C664C}"/>
          </ac:spMkLst>
        </pc:spChg>
      </pc:sldChg>
      <pc:sldChg chg="addSp delSp modSp mod">
        <pc:chgData name="Sharma, Puneet K SBOBNG-PTIY/BHC" userId="1e691898-56e4-4ebc-bd46-ef8059d4d601" providerId="ADAL" clId="{1D37240B-70FF-4119-BF44-8AB7A0CE16FD}" dt="2024-08-31T12:57:12.920" v="7401" actId="1076"/>
        <pc:sldMkLst>
          <pc:docMk/>
          <pc:sldMk cId="2340944189" sldId="2147375607"/>
        </pc:sldMkLst>
        <pc:spChg chg="mod">
          <ac:chgData name="Sharma, Puneet K SBOBNG-PTIY/BHC" userId="1e691898-56e4-4ebc-bd46-ef8059d4d601" providerId="ADAL" clId="{1D37240B-70FF-4119-BF44-8AB7A0CE16FD}" dt="2024-08-31T12:48:50.797" v="6693" actId="20577"/>
          <ac:spMkLst>
            <pc:docMk/>
            <pc:sldMk cId="2340944189" sldId="2147375607"/>
            <ac:spMk id="3" creationId="{CEA128C4-A0BC-A895-713C-306E7FF62894}"/>
          </ac:spMkLst>
        </pc:spChg>
        <pc:spChg chg="add del mod">
          <ac:chgData name="Sharma, Puneet K SBOBNG-PTIY/BHC" userId="1e691898-56e4-4ebc-bd46-ef8059d4d601" providerId="ADAL" clId="{1D37240B-70FF-4119-BF44-8AB7A0CE16FD}" dt="2024-08-31T12:55:48.647" v="7316" actId="20577"/>
          <ac:spMkLst>
            <pc:docMk/>
            <pc:sldMk cId="2340944189" sldId="2147375607"/>
            <ac:spMk id="11" creationId="{DE9F1BE0-7910-FA1B-DCE8-56EFD1E4FC09}"/>
          </ac:spMkLst>
        </pc:spChg>
        <pc:spChg chg="mod">
          <ac:chgData name="Sharma, Puneet K SBOBNG-PTIY/BHC" userId="1e691898-56e4-4ebc-bd46-ef8059d4d601" providerId="ADAL" clId="{1D37240B-70FF-4119-BF44-8AB7A0CE16FD}" dt="2024-08-31T12:56:05.357" v="7397" actId="20577"/>
          <ac:spMkLst>
            <pc:docMk/>
            <pc:sldMk cId="2340944189" sldId="2147375607"/>
            <ac:spMk id="12" creationId="{E53E5C3F-4D2B-B85F-E592-E58E032C664C}"/>
          </ac:spMkLst>
        </pc:spChg>
        <pc:picChg chg="add mod">
          <ac:chgData name="Sharma, Puneet K SBOBNG-PTIY/BHC" userId="1e691898-56e4-4ebc-bd46-ef8059d4d601" providerId="ADAL" clId="{1D37240B-70FF-4119-BF44-8AB7A0CE16FD}" dt="2024-08-31T12:57:12.920" v="7401" actId="1076"/>
          <ac:picMkLst>
            <pc:docMk/>
            <pc:sldMk cId="2340944189" sldId="2147375607"/>
            <ac:picMk id="6" creationId="{6172F34F-1F13-6029-BF45-56477759D190}"/>
          </ac:picMkLst>
        </pc:picChg>
      </pc:sldChg>
      <pc:sldChg chg="addSp modSp mod">
        <pc:chgData name="Sharma, Puneet K SBOBNG-PTIY/BHC" userId="1e691898-56e4-4ebc-bd46-ef8059d4d601" providerId="ADAL" clId="{1D37240B-70FF-4119-BF44-8AB7A0CE16FD}" dt="2024-08-31T13:02:42.430" v="8002" actId="1076"/>
        <pc:sldMkLst>
          <pc:docMk/>
          <pc:sldMk cId="3159148252" sldId="2147375608"/>
        </pc:sldMkLst>
        <pc:spChg chg="mod">
          <ac:chgData name="Sharma, Puneet K SBOBNG-PTIY/BHC" userId="1e691898-56e4-4ebc-bd46-ef8059d4d601" providerId="ADAL" clId="{1D37240B-70FF-4119-BF44-8AB7A0CE16FD}" dt="2024-08-31T12:57:40.399" v="7433" actId="20577"/>
          <ac:spMkLst>
            <pc:docMk/>
            <pc:sldMk cId="3159148252" sldId="2147375608"/>
            <ac:spMk id="3" creationId="{CEA128C4-A0BC-A895-713C-306E7FF62894}"/>
          </ac:spMkLst>
        </pc:spChg>
        <pc:spChg chg="mod">
          <ac:chgData name="Sharma, Puneet K SBOBNG-PTIY/BHC" userId="1e691898-56e4-4ebc-bd46-ef8059d4d601" providerId="ADAL" clId="{1D37240B-70FF-4119-BF44-8AB7A0CE16FD}" dt="2024-08-31T13:01:04.621" v="7917" actId="20577"/>
          <ac:spMkLst>
            <pc:docMk/>
            <pc:sldMk cId="3159148252" sldId="2147375608"/>
            <ac:spMk id="11" creationId="{DE9F1BE0-7910-FA1B-DCE8-56EFD1E4FC09}"/>
          </ac:spMkLst>
        </pc:spChg>
        <pc:spChg chg="mod">
          <ac:chgData name="Sharma, Puneet K SBOBNG-PTIY/BHC" userId="1e691898-56e4-4ebc-bd46-ef8059d4d601" providerId="ADAL" clId="{1D37240B-70FF-4119-BF44-8AB7A0CE16FD}" dt="2024-08-31T13:02:23.818" v="7998" actId="20577"/>
          <ac:spMkLst>
            <pc:docMk/>
            <pc:sldMk cId="3159148252" sldId="2147375608"/>
            <ac:spMk id="12" creationId="{E53E5C3F-4D2B-B85F-E592-E58E032C664C}"/>
          </ac:spMkLst>
        </pc:spChg>
        <pc:picChg chg="add mod">
          <ac:chgData name="Sharma, Puneet K SBOBNG-PTIY/BHC" userId="1e691898-56e4-4ebc-bd46-ef8059d4d601" providerId="ADAL" clId="{1D37240B-70FF-4119-BF44-8AB7A0CE16FD}" dt="2024-08-31T13:02:42.430" v="8002" actId="1076"/>
          <ac:picMkLst>
            <pc:docMk/>
            <pc:sldMk cId="3159148252" sldId="2147375608"/>
            <ac:picMk id="6" creationId="{863658F3-5C30-F8BD-1AA5-16FEC0B6B321}"/>
          </ac:picMkLst>
        </pc:picChg>
      </pc:sldChg>
      <pc:sldChg chg="addSp modSp mod">
        <pc:chgData name="Sharma, Puneet K SBOBNG-PTIY/BHC" userId="1e691898-56e4-4ebc-bd46-ef8059d4d601" providerId="ADAL" clId="{1D37240B-70FF-4119-BF44-8AB7A0CE16FD}" dt="2024-08-31T13:07:45.482" v="8491" actId="14100"/>
        <pc:sldMkLst>
          <pc:docMk/>
          <pc:sldMk cId="3070204084" sldId="2147375609"/>
        </pc:sldMkLst>
        <pc:spChg chg="mod">
          <ac:chgData name="Sharma, Puneet K SBOBNG-PTIY/BHC" userId="1e691898-56e4-4ebc-bd46-ef8059d4d601" providerId="ADAL" clId="{1D37240B-70FF-4119-BF44-8AB7A0CE16FD}" dt="2024-08-31T13:03:06.683" v="8033" actId="20577"/>
          <ac:spMkLst>
            <pc:docMk/>
            <pc:sldMk cId="3070204084" sldId="2147375609"/>
            <ac:spMk id="3" creationId="{CEA128C4-A0BC-A895-713C-306E7FF62894}"/>
          </ac:spMkLst>
        </pc:spChg>
        <pc:spChg chg="mod">
          <ac:chgData name="Sharma, Puneet K SBOBNG-PTIY/BHC" userId="1e691898-56e4-4ebc-bd46-ef8059d4d601" providerId="ADAL" clId="{1D37240B-70FF-4119-BF44-8AB7A0CE16FD}" dt="2024-08-31T13:06:22.013" v="8405" actId="20577"/>
          <ac:spMkLst>
            <pc:docMk/>
            <pc:sldMk cId="3070204084" sldId="2147375609"/>
            <ac:spMk id="11" creationId="{DE9F1BE0-7910-FA1B-DCE8-56EFD1E4FC09}"/>
          </ac:spMkLst>
        </pc:spChg>
        <pc:spChg chg="mod">
          <ac:chgData name="Sharma, Puneet K SBOBNG-PTIY/BHC" userId="1e691898-56e4-4ebc-bd46-ef8059d4d601" providerId="ADAL" clId="{1D37240B-70FF-4119-BF44-8AB7A0CE16FD}" dt="2024-08-31T13:06:42.885" v="8486" actId="20577"/>
          <ac:spMkLst>
            <pc:docMk/>
            <pc:sldMk cId="3070204084" sldId="2147375609"/>
            <ac:spMk id="12" creationId="{E53E5C3F-4D2B-B85F-E592-E58E032C664C}"/>
          </ac:spMkLst>
        </pc:spChg>
        <pc:picChg chg="add mod">
          <ac:chgData name="Sharma, Puneet K SBOBNG-PTIY/BHC" userId="1e691898-56e4-4ebc-bd46-ef8059d4d601" providerId="ADAL" clId="{1D37240B-70FF-4119-BF44-8AB7A0CE16FD}" dt="2024-08-31T13:07:45.482" v="8491" actId="14100"/>
          <ac:picMkLst>
            <pc:docMk/>
            <pc:sldMk cId="3070204084" sldId="2147375609"/>
            <ac:picMk id="6" creationId="{0C4FBACA-FD04-3AB1-B0CB-0634FBEBBA2A}"/>
          </ac:picMkLst>
        </pc:picChg>
      </pc:sldChg>
      <pc:sldChg chg="modSp mod">
        <pc:chgData name="Sharma, Puneet K SBOBNG-PTIY/BHC" userId="1e691898-56e4-4ebc-bd46-ef8059d4d601" providerId="ADAL" clId="{1D37240B-70FF-4119-BF44-8AB7A0CE16FD}" dt="2024-08-31T13:25:02.396" v="9488" actId="20577"/>
        <pc:sldMkLst>
          <pc:docMk/>
          <pc:sldMk cId="3754613224" sldId="2147375611"/>
        </pc:sldMkLst>
        <pc:spChg chg="mod">
          <ac:chgData name="Sharma, Puneet K SBOBNG-PTIY/BHC" userId="1e691898-56e4-4ebc-bd46-ef8059d4d601" providerId="ADAL" clId="{1D37240B-70FF-4119-BF44-8AB7A0CE16FD}" dt="2024-08-31T13:20:36.262" v="8894" actId="20577"/>
          <ac:spMkLst>
            <pc:docMk/>
            <pc:sldMk cId="3754613224" sldId="2147375611"/>
            <ac:spMk id="18" creationId="{6C73795A-BE20-7075-E9C6-6F145CE60794}"/>
          </ac:spMkLst>
        </pc:spChg>
        <pc:spChg chg="mod">
          <ac:chgData name="Sharma, Puneet K SBOBNG-PTIY/BHC" userId="1e691898-56e4-4ebc-bd46-ef8059d4d601" providerId="ADAL" clId="{1D37240B-70FF-4119-BF44-8AB7A0CE16FD}" dt="2024-08-31T13:21:48.435" v="9036" actId="20577"/>
          <ac:spMkLst>
            <pc:docMk/>
            <pc:sldMk cId="3754613224" sldId="2147375611"/>
            <ac:spMk id="19" creationId="{A3E2F4D1-4417-E244-3DB9-A6FF5866A342}"/>
          </ac:spMkLst>
        </pc:spChg>
        <pc:spChg chg="mod">
          <ac:chgData name="Sharma, Puneet K SBOBNG-PTIY/BHC" userId="1e691898-56e4-4ebc-bd46-ef8059d4d601" providerId="ADAL" clId="{1D37240B-70FF-4119-BF44-8AB7A0CE16FD}" dt="2024-08-31T13:25:02.396" v="9488" actId="20577"/>
          <ac:spMkLst>
            <pc:docMk/>
            <pc:sldMk cId="3754613224" sldId="2147375611"/>
            <ac:spMk id="20" creationId="{3EBEB0AC-D407-44FD-A74F-90F67F3D13C3}"/>
          </ac:spMkLst>
        </pc:spChg>
      </pc:sldChg>
      <pc:sldChg chg="addSp modSp mod">
        <pc:chgData name="Sharma, Puneet K SBOBNG-PTIY/BHC" userId="1e691898-56e4-4ebc-bd46-ef8059d4d601" providerId="ADAL" clId="{1D37240B-70FF-4119-BF44-8AB7A0CE16FD}" dt="2024-08-30T17:50:46.116" v="6181" actId="14100"/>
        <pc:sldMkLst>
          <pc:docMk/>
          <pc:sldMk cId="1148838763" sldId="2147375613"/>
        </pc:sldMkLst>
        <pc:spChg chg="mod">
          <ac:chgData name="Sharma, Puneet K SBOBNG-PTIY/BHC" userId="1e691898-56e4-4ebc-bd46-ef8059d4d601" providerId="ADAL" clId="{1D37240B-70FF-4119-BF44-8AB7A0CE16FD}" dt="2024-08-30T17:44:58.566" v="6099" actId="20578"/>
          <ac:spMkLst>
            <pc:docMk/>
            <pc:sldMk cId="1148838763" sldId="2147375613"/>
            <ac:spMk id="11" creationId="{8CC1343B-2E39-FEFF-8FF6-46822F18B432}"/>
          </ac:spMkLst>
        </pc:spChg>
        <pc:spChg chg="mod">
          <ac:chgData name="Sharma, Puneet K SBOBNG-PTIY/BHC" userId="1e691898-56e4-4ebc-bd46-ef8059d4d601" providerId="ADAL" clId="{1D37240B-70FF-4119-BF44-8AB7A0CE16FD}" dt="2024-08-30T17:50:14.324" v="6173" actId="20577"/>
          <ac:spMkLst>
            <pc:docMk/>
            <pc:sldMk cId="1148838763" sldId="2147375613"/>
            <ac:spMk id="12" creationId="{5A873A1A-E63F-91AE-7D43-ED0F86870147}"/>
          </ac:spMkLst>
        </pc:spChg>
        <pc:picChg chg="add mod modCrop">
          <ac:chgData name="Sharma, Puneet K SBOBNG-PTIY/BHC" userId="1e691898-56e4-4ebc-bd46-ef8059d4d601" providerId="ADAL" clId="{1D37240B-70FF-4119-BF44-8AB7A0CE16FD}" dt="2024-08-30T17:50:46.116" v="6181" actId="14100"/>
          <ac:picMkLst>
            <pc:docMk/>
            <pc:sldMk cId="1148838763" sldId="2147375613"/>
            <ac:picMk id="6" creationId="{59DFAE64-81D9-6F5B-1669-544CA2036043}"/>
          </ac:picMkLst>
        </pc:picChg>
      </pc:sldChg>
      <pc:sldChg chg="modSp mod">
        <pc:chgData name="Sharma, Puneet K SBOBNG-PTIY/BHC" userId="1e691898-56e4-4ebc-bd46-ef8059d4d601" providerId="ADAL" clId="{1D37240B-70FF-4119-BF44-8AB7A0CE16FD}" dt="2024-08-31T14:07:20.416" v="11476" actId="20577"/>
        <pc:sldMkLst>
          <pc:docMk/>
          <pc:sldMk cId="3865850111" sldId="2147375614"/>
        </pc:sldMkLst>
        <pc:spChg chg="mod">
          <ac:chgData name="Sharma, Puneet K SBOBNG-PTIY/BHC" userId="1e691898-56e4-4ebc-bd46-ef8059d4d601" providerId="ADAL" clId="{1D37240B-70FF-4119-BF44-8AB7A0CE16FD}" dt="2024-08-31T14:07:20.416" v="11476" actId="20577"/>
          <ac:spMkLst>
            <pc:docMk/>
            <pc:sldMk cId="3865850111" sldId="2147375614"/>
            <ac:spMk id="6" creationId="{AC2F88D2-81D4-FAD4-568E-A3F495B06411}"/>
          </ac:spMkLst>
        </pc:sp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9.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Puneet Kumar Sharm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1-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Role of Business Analyst and BRD, SRS|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Courier New" panose="02070309020205020404" pitchFamily="49" charset="0"/>
              <a:buChar char="o"/>
            </a:pPr>
            <a:r>
              <a:rPr lang="en-US" sz="2000" dirty="0"/>
              <a:t>Shell implements this learning by providing adequate training for its people regarding these technical and business documents which in turn helps its people i.e., business analysts, developers and QA engineers to draft good BRD and SRS and understand them as well.</a:t>
            </a:r>
          </a:p>
          <a:p>
            <a:pPr>
              <a:buFont typeface="Courier New" panose="02070309020205020404" pitchFamily="49" charset="0"/>
              <a:buChar char="o"/>
            </a:pPr>
            <a:r>
              <a:rPr lang="en-US" sz="2000" dirty="0"/>
              <a:t>Shell benefits from this by means of productivity and efficiency that came with the proper initial documentation of any project. Proper documentation for any project acts as a kick start for it which in turn benefits Shell in timely completion of the project along with the quality of work.</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Teamwor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60992"/>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Courier New" panose="02070309020205020404" pitchFamily="49" charset="0"/>
              <a:buChar char="o"/>
            </a:pPr>
            <a:r>
              <a:rPr lang="en-US" sz="2000" dirty="0"/>
              <a:t>The challenge that I faced while implementing Teamwork was that of Time Management. It was reflected on me during the presentation activity. We were required to prepare an informative ppt on a topic of our choice in a short period of time, due to this limited time I faced some challenge in explaining what everyone needs to do (I ideated the ppt).</a:t>
            </a:r>
          </a:p>
          <a:p>
            <a:pPr>
              <a:buFont typeface="Courier New" panose="02070309020205020404" pitchFamily="49" charset="0"/>
              <a:buChar char="o"/>
            </a:pPr>
            <a:r>
              <a:rPr lang="en-US" sz="2000" dirty="0"/>
              <a:t>I plan to overcome this challenge by allowing myself to be more decisive and by reducing the amount of unnecessary time that I spend on think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6172F34F-1F13-6029-BF45-56477759D190}"/>
              </a:ext>
            </a:extLst>
          </p:cNvPr>
          <p:cNvPicPr>
            <a:picLocks noChangeAspect="1"/>
          </p:cNvPicPr>
          <p:nvPr/>
        </p:nvPicPr>
        <p:blipFill>
          <a:blip r:embed="rId7"/>
          <a:stretch>
            <a:fillRect/>
          </a:stretch>
        </p:blipFill>
        <p:spPr>
          <a:xfrm>
            <a:off x="6415787" y="2399749"/>
            <a:ext cx="5320729" cy="2998725"/>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Stakeholder Management</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Courier New" panose="02070309020205020404" pitchFamily="49" charset="0"/>
              <a:buChar char="o"/>
            </a:pPr>
            <a:r>
              <a:rPr lang="en-US" sz="2000" dirty="0"/>
              <a:t>The challenge that I faced in Stakeholder Management is the identification of stakeholders.</a:t>
            </a:r>
          </a:p>
          <a:p>
            <a:pPr>
              <a:buFont typeface="Courier New" panose="02070309020205020404" pitchFamily="49" charset="0"/>
              <a:buChar char="o"/>
            </a:pPr>
            <a:r>
              <a:rPr lang="en-US" sz="2000" dirty="0"/>
              <a:t>I Plan to overcome this challenge by listing each and every person involved in a project as characters in the order of their appearance in a scenario.</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863658F3-5C30-F8BD-1AA5-16FEC0B6B321}"/>
              </a:ext>
            </a:extLst>
          </p:cNvPr>
          <p:cNvPicPr>
            <a:picLocks noChangeAspect="1"/>
          </p:cNvPicPr>
          <p:nvPr/>
        </p:nvPicPr>
        <p:blipFill>
          <a:blip r:embed="rId7"/>
          <a:stretch>
            <a:fillRect/>
          </a:stretch>
        </p:blipFill>
        <p:spPr>
          <a:xfrm>
            <a:off x="6400799" y="2386129"/>
            <a:ext cx="5365372" cy="3025968"/>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BRD and SR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Courier New" panose="02070309020205020404" pitchFamily="49" charset="0"/>
              <a:buChar char="o"/>
            </a:pPr>
            <a:r>
              <a:rPr lang="en-US" sz="2000" dirty="0"/>
              <a:t>The challenge that I faced was during the translation of Business Requirements into Technical Requirements in the form of SRS. I was either going too technical or was missing some secondary technical requirements.</a:t>
            </a:r>
          </a:p>
          <a:p>
            <a:pPr>
              <a:buFont typeface="Courier New" panose="02070309020205020404" pitchFamily="49" charset="0"/>
              <a:buChar char="o"/>
            </a:pPr>
            <a:r>
              <a:rPr lang="en-US" sz="2000" dirty="0"/>
              <a:t>I plan to overcome it by effectively communicating with the Business Analyst and bringing myself on the same page as that of the client.</a:t>
            </a:r>
          </a:p>
          <a:p>
            <a:pPr>
              <a:buFont typeface="Courier New" panose="02070309020205020404" pitchFamily="49" charset="0"/>
              <a:buChar char="o"/>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0C4FBACA-FD04-3AB1-B0CB-0634FBEBBA2A}"/>
              </a:ext>
            </a:extLst>
          </p:cNvPr>
          <p:cNvPicPr>
            <a:picLocks noChangeAspect="1"/>
          </p:cNvPicPr>
          <p:nvPr/>
        </p:nvPicPr>
        <p:blipFill>
          <a:blip r:embed="rId7"/>
          <a:stretch>
            <a:fillRect/>
          </a:stretch>
        </p:blipFill>
        <p:spPr>
          <a:xfrm>
            <a:off x="6400799" y="1860303"/>
            <a:ext cx="5323029" cy="4029124"/>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Learning about important communication topics which are crucial for a professional.</a:t>
            </a:r>
          </a:p>
          <a:p>
            <a:r>
              <a:rPr lang="en-US" sz="2000" dirty="0">
                <a:effectLst>
                  <a:outerShdw blurRad="38100" dist="38100" dir="2700000" algn="tl">
                    <a:srgbClr val="000000">
                      <a:alpha val="43137"/>
                    </a:srgbClr>
                  </a:outerShdw>
                </a:effectLst>
              </a:rPr>
              <a:t>Learning about key topics in understanding the role of a Business Analyst, drafting BRD and SRS and Agile Scrum.</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Monday – Wednesday (3 Days for Soft Skills)</a:t>
            </a:r>
          </a:p>
          <a:p>
            <a:r>
              <a:rPr lang="en-US" sz="2000" dirty="0">
                <a:effectLst>
                  <a:outerShdw blurRad="38100" dist="38100" dir="2700000" algn="tl">
                    <a:srgbClr val="000000">
                      <a:alpha val="43137"/>
                    </a:srgbClr>
                  </a:outerShdw>
                </a:effectLst>
              </a:rPr>
              <a:t>Thursday – Friday (2 Days for BA &amp; Agile)</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At the end of 3 days for Soft Skills I was able to assess myself in terms of soft skills and was able to greatly improve some skills which include Presentations, Stakeholder Management and Teamwork.</a:t>
            </a:r>
          </a:p>
          <a:p>
            <a:r>
              <a:rPr lang="en-US" sz="2000" dirty="0">
                <a:effectLst>
                  <a:outerShdw blurRad="38100" dist="38100" dir="2700000" algn="tl">
                    <a:srgbClr val="000000">
                      <a:alpha val="43137"/>
                    </a:srgbClr>
                  </a:outerShdw>
                </a:effectLst>
              </a:rPr>
              <a:t>I was able to understood the characteristics of good BRD and SRS documents, SDLC models with emphasis on Agile Scrum.</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a:buFont typeface="Courier New" panose="02070309020205020404" pitchFamily="49" charset="0"/>
              <a:buChar char="o"/>
            </a:pPr>
            <a:r>
              <a:rPr lang="en-US" sz="2000" dirty="0"/>
              <a:t>The fun activity was done during the teamwork exercise of the soft skills training. In this activity we were part of a team and we were required to write a word with minimum 6 characters on a sheet, but the condition was that the marker or pen would be tied to strings and these strings would be held by four team members in North, South, East and West directions and they will try to write this word using this setup.</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white wall with black lines&#10;&#10;Description automatically generated">
            <a:extLst>
              <a:ext uri="{FF2B5EF4-FFF2-40B4-BE49-F238E27FC236}">
                <a16:creationId xmlns:a16="http://schemas.microsoft.com/office/drawing/2014/main" id="{59DFAE64-81D9-6F5B-1669-544CA2036043}"/>
              </a:ext>
            </a:extLst>
          </p:cNvPr>
          <p:cNvPicPr>
            <a:picLocks noChangeAspect="1"/>
          </p:cNvPicPr>
          <p:nvPr/>
        </p:nvPicPr>
        <p:blipFill rotWithShape="1">
          <a:blip r:embed="rId7">
            <a:extLst>
              <a:ext uri="{28A0092B-C50C-407E-A947-70E740481C1C}">
                <a14:useLocalDpi xmlns:a14="http://schemas.microsoft.com/office/drawing/2010/main" val="0"/>
              </a:ext>
            </a:extLst>
          </a:blip>
          <a:srcRect l="5415" r="28199"/>
          <a:stretch/>
        </p:blipFill>
        <p:spPr>
          <a:xfrm rot="10800000">
            <a:off x="6400799" y="1941741"/>
            <a:ext cx="5343085" cy="3717913"/>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463550" y="1333735"/>
            <a:ext cx="10397489" cy="4662803"/>
          </a:xfrm>
          <a:prstGeom prst="rect">
            <a:avLst/>
          </a:prstGeom>
        </p:spPr>
        <p:txBody>
          <a:bodyPr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During soft skills training I was able to learn the important concepts of Teamwork and Stakeholder Management in an enjoyable manner with different fun activities. I was able to improve my communication and presentation skills by participating in the team and completing different short projects, the BA &amp; Agile training provided me with the foundational knowledge of the role of a Business Analyst, how SRS and BRD are drafted and their importance along with Agile Scrum SDLC model.</a:t>
            </a:r>
          </a:p>
          <a:p>
            <a:pPr>
              <a:lnSpc>
                <a:spcPct val="100000"/>
              </a:lnSpc>
            </a:pPr>
            <a:r>
              <a:rPr lang="en-US" sz="2000" dirty="0"/>
              <a:t>Next week we are going to learn about Testing, DBMS and DevOps. Testing is an important skill to have </a:t>
            </a:r>
            <a:r>
              <a:rPr lang="en-US" sz="2000"/>
              <a:t>for developers because </a:t>
            </a:r>
            <a:r>
              <a:rPr lang="en-US" sz="2000" dirty="0"/>
              <a:t>they are expected to perform unit testing for a module, DBMS is a foundational Computer Science subject. Since, it is the place where data is stored and retrieved for business purposes. DevOps is all about development and operations team working together using pipelines and environments to reduce the time taken between writing code and deploying it.</a:t>
            </a:r>
            <a:endParaRPr lang="en-US" sz="1800" dirty="0"/>
          </a:p>
          <a:p>
            <a:pPr>
              <a:lnSpc>
                <a:spcPct val="100000"/>
              </a:lnSpc>
            </a:pPr>
            <a:r>
              <a:rPr lang="en-US" sz="1800" dirty="0"/>
              <a:t>Proper understanding of concepts such as Stakeholder Management, BRD and SRS helps to understand what to test, how much and where should the data be stored and in what format followed by how it should be accessed and used. Agile Scrum concepts helps to understand the development of environments and pipelines.</a:t>
            </a:r>
          </a:p>
          <a:p>
            <a:pPr marL="0" indent="0">
              <a:lnSpc>
                <a:spcPct val="100000"/>
              </a:lnSpc>
              <a:buNone/>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The more you know, The more you realize that you know nothing</a:t>
            </a:r>
          </a:p>
          <a:p>
            <a:pPr marL="0" indent="0" algn="ctr">
              <a:buFont typeface="Arial" panose="020B0604020202020204" pitchFamily="34" charset="0"/>
              <a:buNone/>
            </a:pPr>
            <a:endParaRPr lang="en-US" sz="2000" dirty="0"/>
          </a:p>
        </p:txBody>
      </p:sp>
      <p:pic>
        <p:nvPicPr>
          <p:cNvPr id="1026" name="Picture 2" descr="Lone Wolf Wallpaper (57+ images)">
            <a:extLst>
              <a:ext uri="{FF2B5EF4-FFF2-40B4-BE49-F238E27FC236}">
                <a16:creationId xmlns:a16="http://schemas.microsoft.com/office/drawing/2014/main" id="{BEA4036C-EFE0-45DD-2E14-E80E0FF2464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3973" t="2667" r="10474"/>
          <a:stretch/>
        </p:blipFill>
        <p:spPr bwMode="auto">
          <a:xfrm>
            <a:off x="6913349" y="1831738"/>
            <a:ext cx="3391479"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Teamwork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n this week’s soft skills classes I learned the importance of teamwork and why it is important to collaborate and work in a team.</a:t>
            </a:r>
          </a:p>
          <a:p>
            <a:r>
              <a:rPr lang="en-US" sz="2000" dirty="0"/>
              <a:t>The key takeaway from soft skills classes was that the creative potential of a team increases exponentially with increase in collaboration and coordination among its team members, this increase in creative potential can be seen in the output of the team or the delivery of the team.</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5" name="Picture 4" descr="A drawing of a teardrop and a pen on a white paper&#10;&#10;Description automatically generated">
            <a:extLst>
              <a:ext uri="{FF2B5EF4-FFF2-40B4-BE49-F238E27FC236}">
                <a16:creationId xmlns:a16="http://schemas.microsoft.com/office/drawing/2014/main" id="{49792A22-6834-3D0C-C4DC-746BC582BB37}"/>
              </a:ext>
            </a:extLst>
          </p:cNvPr>
          <p:cNvPicPr>
            <a:picLocks noChangeAspect="1"/>
          </p:cNvPicPr>
          <p:nvPr/>
        </p:nvPicPr>
        <p:blipFill rotWithShape="1">
          <a:blip r:embed="rId7">
            <a:extLst>
              <a:ext uri="{28A0092B-C50C-407E-A947-70E740481C1C}">
                <a14:useLocalDpi xmlns:a14="http://schemas.microsoft.com/office/drawing/2010/main" val="0"/>
              </a:ext>
            </a:extLst>
          </a:blip>
          <a:srcRect l="7609" t="11650" r="11519"/>
          <a:stretch/>
        </p:blipFill>
        <p:spPr>
          <a:xfrm>
            <a:off x="6421323" y="2269289"/>
            <a:ext cx="5302505" cy="3259647"/>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takeholder Management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Courier New" panose="02070309020205020404" pitchFamily="49" charset="0"/>
              <a:buChar char="o"/>
            </a:pPr>
            <a:r>
              <a:rPr lang="en-US" sz="2000" dirty="0"/>
              <a:t>In this week’s soft skills classes I learned the importance of stakeholder management and why it is important to have proper communication between all stakeholders to bring project’s success.</a:t>
            </a:r>
          </a:p>
          <a:p>
            <a:pPr>
              <a:buFont typeface="Courier New" panose="02070309020205020404" pitchFamily="49" charset="0"/>
              <a:buChar char="o"/>
            </a:pPr>
            <a:r>
              <a:rPr lang="en-US" sz="2000" dirty="0"/>
              <a:t>The key takeaway from this week’s soft skills classes is that managing people is a complex and an important skill for a professional to have, this skill helps a professional to manage stakeholders having different expectations from the project to bring them all on same pag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22EA7F0D-89AA-EC55-66CC-48ED364C027E}"/>
              </a:ext>
            </a:extLst>
          </p:cNvPr>
          <p:cNvPicPr>
            <a:picLocks noChangeAspect="1"/>
          </p:cNvPicPr>
          <p:nvPr/>
        </p:nvPicPr>
        <p:blipFill>
          <a:blip r:embed="rId7"/>
          <a:stretch>
            <a:fillRect/>
          </a:stretch>
        </p:blipFill>
        <p:spPr>
          <a:xfrm>
            <a:off x="6400799" y="2378042"/>
            <a:ext cx="5347447" cy="3021732"/>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Role of a Business Analyst and BRD, SRS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Courier New" panose="02070309020205020404" pitchFamily="49" charset="0"/>
              <a:buChar char="o"/>
            </a:pPr>
            <a:r>
              <a:rPr lang="en-US" sz="2000" dirty="0"/>
              <a:t>In this week’s BA &amp; Agile classes I have learned the importance of documenting all the requirements properly in any IT project. Particularly, I have learned the importance of BRD and SRS and how to properly draft these documents from a Business Analyst’s perspective.</a:t>
            </a:r>
          </a:p>
          <a:p>
            <a:pPr>
              <a:buFont typeface="Courier New" panose="02070309020205020404" pitchFamily="49" charset="0"/>
              <a:buChar char="o"/>
            </a:pPr>
            <a:r>
              <a:rPr lang="en-US" sz="2000" dirty="0"/>
              <a:t>The key takeaway from BA &amp; Agile classes is the importance of getting approval on the requirements from the client and drafting a good SRS, So that client, developers and QA engineers are all on the same page and rework can be prevented.</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26F7A6F9-811C-EA51-498A-A15647772E33}"/>
              </a:ext>
            </a:extLst>
          </p:cNvPr>
          <p:cNvPicPr>
            <a:picLocks noChangeAspect="1"/>
          </p:cNvPicPr>
          <p:nvPr/>
        </p:nvPicPr>
        <p:blipFill>
          <a:blip r:embed="rId7"/>
          <a:stretch>
            <a:fillRect/>
          </a:stretch>
        </p:blipFill>
        <p:spPr>
          <a:xfrm>
            <a:off x="6400799" y="1864784"/>
            <a:ext cx="5323029" cy="4022453"/>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Teamwork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Courier New" panose="02070309020205020404" pitchFamily="49" charset="0"/>
              <a:buChar char="o"/>
            </a:pPr>
            <a:r>
              <a:rPr lang="en-US" sz="2000" dirty="0"/>
              <a:t>Shell implements good teamwork by allowing its staff to schedule GTKYs with anyone, knowing your team member in terms of what type of a person he/she is, what are there strengths and weaknesses, promotes strong collaboration among team members and they become support for each other.</a:t>
            </a:r>
          </a:p>
          <a:p>
            <a:pPr>
              <a:buFont typeface="Courier New" panose="02070309020205020404" pitchFamily="49" charset="0"/>
              <a:buChar char="o"/>
            </a:pPr>
            <a:r>
              <a:rPr lang="en-US" sz="2000" dirty="0"/>
              <a:t>Shell benefits from this learning by promoting strong collaboration among team members such that the team acts as a single unit and the creative potential of the team delivers greater valu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Stakeholder Management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Courier New" panose="02070309020205020404" pitchFamily="49" charset="0"/>
              <a:buChar char="o"/>
            </a:pPr>
            <a:r>
              <a:rPr lang="en-US" sz="2000" dirty="0"/>
              <a:t>Shell implements this learning by allowing people to freely express their opinions with respect and understand others' opinions with respect, in such a transparent environment the trust of stakeholders increase which in turn benefits everyone.</a:t>
            </a:r>
          </a:p>
          <a:p>
            <a:pPr>
              <a:buFont typeface="Courier New" panose="02070309020205020404" pitchFamily="49" charset="0"/>
              <a:buChar char="o"/>
            </a:pPr>
            <a:r>
              <a:rPr lang="en-US" sz="2000" dirty="0"/>
              <a:t>Shell benefits from good stakeholder management by generating value for its stakeholders, which is also an important part of Shell’s “Powering Progress” strateg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76</TotalTime>
  <Words>1253</Words>
  <Application>Microsoft Office PowerPoint</Application>
  <PresentationFormat>Widescreen</PresentationFormat>
  <Paragraphs>67</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Courier New</vt:lpstr>
      <vt:lpstr>Office Theme</vt:lpstr>
      <vt:lpstr>think-cell Slide</vt:lpstr>
      <vt:lpstr>PowerPoint Presentation</vt:lpstr>
      <vt:lpstr>About Me</vt:lpstr>
      <vt:lpstr>PowerPoint Presentation</vt:lpstr>
      <vt:lpstr>Teamwork | My takeaways</vt:lpstr>
      <vt:lpstr>Stakeholder Management | My takeaways</vt:lpstr>
      <vt:lpstr>Role of a Business Analyst and BRD, SRS | My takeaways</vt:lpstr>
      <vt:lpstr>PowerPoint Presentation</vt:lpstr>
      <vt:lpstr>Teamwork | Relevance for Shell</vt:lpstr>
      <vt:lpstr> Stakeholder Management | Relevance for Shell</vt:lpstr>
      <vt:lpstr>Role of Business Analyst and BRD, SRS| Relevance for Shell</vt:lpstr>
      <vt:lpstr>PowerPoint Presentation</vt:lpstr>
      <vt:lpstr>Challenge faced while implementing Teamwork</vt:lpstr>
      <vt:lpstr>Challenge faced while implementing Stakeholder Management</vt:lpstr>
      <vt:lpstr>Challenge faced while implementing BRD and SRS</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arma, Puneet K SBOBNG-PTIY/BHC</cp:lastModifiedBy>
  <cp:revision>499</cp:revision>
  <dcterms:created xsi:type="dcterms:W3CDTF">2022-01-18T12:35:56Z</dcterms:created>
  <dcterms:modified xsi:type="dcterms:W3CDTF">2024-08-31T14:0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